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30"/>
  </p:notesMasterIdLst>
  <p:sldIdLst>
    <p:sldId id="256" r:id="rId7"/>
    <p:sldId id="416" r:id="rId8"/>
    <p:sldId id="399" r:id="rId9"/>
    <p:sldId id="400" r:id="rId10"/>
    <p:sldId id="403" r:id="rId11"/>
    <p:sldId id="454" r:id="rId12"/>
    <p:sldId id="445" r:id="rId13"/>
    <p:sldId id="449" r:id="rId14"/>
    <p:sldId id="451" r:id="rId15"/>
    <p:sldId id="452" r:id="rId16"/>
    <p:sldId id="453" r:id="rId17"/>
    <p:sldId id="446" r:id="rId18"/>
    <p:sldId id="434" r:id="rId19"/>
    <p:sldId id="417" r:id="rId20"/>
    <p:sldId id="418" r:id="rId21"/>
    <p:sldId id="441" r:id="rId22"/>
    <p:sldId id="447" r:id="rId23"/>
    <p:sldId id="420" r:id="rId24"/>
    <p:sldId id="421" r:id="rId25"/>
    <p:sldId id="455" r:id="rId26"/>
    <p:sldId id="443" r:id="rId27"/>
    <p:sldId id="444" r:id="rId28"/>
    <p:sldId id="396" r:id="rId29"/>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75072" autoAdjust="0"/>
  </p:normalViewPr>
  <p:slideViewPr>
    <p:cSldViewPr snapToGrid="0" snapToObjects="1">
      <p:cViewPr varScale="1">
        <p:scale>
          <a:sx n="72" d="100"/>
          <a:sy n="72" d="100"/>
        </p:scale>
        <p:origin x="-1020" y="-90"/>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EAE79DF4-D8F1-4CE6-B314-447CB223B2F1}" srcId="{5299277B-D752-4F4B-B84C-1240D5E538A1}" destId="{B139A81C-72AD-48BC-A0A2-7A838588DC65}" srcOrd="1" destOrd="0" parTransId="{471ED040-0093-4565-B276-926D5ACCC1CE}" sibTransId="{7405C623-FACE-449D-A784-8DAA42C8EC03}"/>
    <dgm:cxn modelId="{7F5C6530-8ED2-46FB-8D04-B4499AAF0B51}" srcId="{5299277B-D752-4F4B-B84C-1240D5E538A1}" destId="{7E3D02A7-21BA-4E3C-B086-ADF04D6961F4}" srcOrd="2" destOrd="0" parTransId="{9810B792-4121-4E85-BEDD-B3F8548CC308}" sibTransId="{69CDC896-FC7E-4F44-970D-1E18D24C4383}"/>
    <dgm:cxn modelId="{CBB0C278-3A72-4968-9EBE-73CC4EF39373}" srcId="{5299277B-D752-4F4B-B84C-1240D5E538A1}" destId="{F9148AD3-2555-4934-843C-D59161F5064B}" srcOrd="3" destOrd="0" parTransId="{38B3A859-6A4D-4BF9-9AE4-780EEC4A63C7}" sibTransId="{AB6454D7-AD64-4A2F-833C-4F3D53B6A1A7}"/>
    <dgm:cxn modelId="{3F6F12F3-A5C4-48B8-9F91-8ECC56288DEB}" type="presOf" srcId="{5299277B-D752-4F4B-B84C-1240D5E538A1}" destId="{AAAF7C6F-6FCA-4BE5-8929-018DB0E70976}" srcOrd="0" destOrd="0" presId="urn:microsoft.com/office/officeart/2005/8/layout/hProcess11"/>
    <dgm:cxn modelId="{57744A3B-24D0-42F4-A857-21FC39C4D318}" type="presOf" srcId="{F9148AD3-2555-4934-843C-D59161F5064B}" destId="{7C0005F6-71C5-4228-A47A-1266BA9C3CD6}" srcOrd="0" destOrd="0" presId="urn:microsoft.com/office/officeart/2005/8/layout/hProcess11"/>
    <dgm:cxn modelId="{49A84A81-C642-4E43-BE58-6FC366D60EDA}" type="presOf" srcId="{DA39226F-23F5-4FF7-B506-CA9E34A3F2E8}" destId="{F69A34A8-BCEA-4229-A07B-9C91BD5DEC4C}" srcOrd="0" destOrd="0" presId="urn:microsoft.com/office/officeart/2005/8/layout/hProcess11"/>
    <dgm:cxn modelId="{DF72A890-891B-44D7-BDF8-2202EBA2B548}" type="presOf" srcId="{D41C40E7-0C15-420B-88D4-FA628015D777}" destId="{40FAA7F3-7AB1-4356-AF1C-17067D0FD852}"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4C2160BA-9FCB-4BA4-9E1A-B218FFD9AA7D}" type="presOf" srcId="{B139A81C-72AD-48BC-A0A2-7A838588DC65}" destId="{EA090BB3-A5DA-44C3-8B0A-3457B2C2F277}" srcOrd="0" destOrd="0" presId="urn:microsoft.com/office/officeart/2005/8/layout/hProcess11"/>
    <dgm:cxn modelId="{1253BF0E-CBC8-4E96-AD5F-D6DD12530B85}" type="presOf" srcId="{7E3D02A7-21BA-4E3C-B086-ADF04D6961F4}" destId="{F9A43A4F-A126-4CD1-8CDF-CEE8BAC601AC}" srcOrd="0" destOrd="0" presId="urn:microsoft.com/office/officeart/2005/8/layout/hProcess11"/>
    <dgm:cxn modelId="{627B648F-8E99-4902-BEE4-FB20BB59351F}" type="presOf" srcId="{FFC3F2CD-E0B7-476E-80BB-9BFF49CB2019}" destId="{9E11F8A6-6665-42FB-8510-A3F64F94A977}" srcOrd="0" destOrd="0" presId="urn:microsoft.com/office/officeart/2005/8/layout/hProcess11"/>
    <dgm:cxn modelId="{4C8B00D5-E1CC-4EAB-B174-E497CBC8411D}" type="presParOf" srcId="{AAAF7C6F-6FCA-4BE5-8929-018DB0E70976}" destId="{FAE46C24-0486-476F-9F40-5447E7EE5FFA}" srcOrd="0" destOrd="0" presId="urn:microsoft.com/office/officeart/2005/8/layout/hProcess11"/>
    <dgm:cxn modelId="{F38AECF8-D0D9-4148-A8B4-1BF43CFCEB69}" type="presParOf" srcId="{AAAF7C6F-6FCA-4BE5-8929-018DB0E70976}" destId="{5249355C-F074-41E6-82EC-05D555B0A37E}" srcOrd="1" destOrd="0" presId="urn:microsoft.com/office/officeart/2005/8/layout/hProcess11"/>
    <dgm:cxn modelId="{D1D2E163-2CF7-4679-A518-8AA1BA7C9548}" type="presParOf" srcId="{5249355C-F074-41E6-82EC-05D555B0A37E}" destId="{A6EBBCD0-B117-43FA-AC53-001F3EF844B9}" srcOrd="0" destOrd="0" presId="urn:microsoft.com/office/officeart/2005/8/layout/hProcess11"/>
    <dgm:cxn modelId="{007473A2-65FA-4E85-8612-B1B0D63A7970}" type="presParOf" srcId="{A6EBBCD0-B117-43FA-AC53-001F3EF844B9}" destId="{9E11F8A6-6665-42FB-8510-A3F64F94A977}" srcOrd="0" destOrd="0" presId="urn:microsoft.com/office/officeart/2005/8/layout/hProcess11"/>
    <dgm:cxn modelId="{7DF0A5D6-1179-41D0-8B73-F65838FA916C}" type="presParOf" srcId="{A6EBBCD0-B117-43FA-AC53-001F3EF844B9}" destId="{10199B19-7E01-4F86-A8B5-40CD1C8F8229}" srcOrd="1" destOrd="0" presId="urn:microsoft.com/office/officeart/2005/8/layout/hProcess11"/>
    <dgm:cxn modelId="{BDB11798-B65D-4161-BA9E-22ECEC18B59B}" type="presParOf" srcId="{A6EBBCD0-B117-43FA-AC53-001F3EF844B9}" destId="{32BBAE4F-C859-40B1-958E-02EBC47FD101}" srcOrd="2" destOrd="0" presId="urn:microsoft.com/office/officeart/2005/8/layout/hProcess11"/>
    <dgm:cxn modelId="{67DA649C-C7B2-478C-AEB2-5A198D6CB625}" type="presParOf" srcId="{5249355C-F074-41E6-82EC-05D555B0A37E}" destId="{B24677BC-905C-46B3-BD96-996513692079}" srcOrd="1" destOrd="0" presId="urn:microsoft.com/office/officeart/2005/8/layout/hProcess11"/>
    <dgm:cxn modelId="{02006B84-46B6-42EE-8EB8-C6F55462AE03}" type="presParOf" srcId="{5249355C-F074-41E6-82EC-05D555B0A37E}" destId="{B747E2B4-470A-4760-846D-D9F7EC40DB90}" srcOrd="2" destOrd="0" presId="urn:microsoft.com/office/officeart/2005/8/layout/hProcess11"/>
    <dgm:cxn modelId="{35D2A24C-0420-4AD7-AE32-45CE3FB910D5}" type="presParOf" srcId="{B747E2B4-470A-4760-846D-D9F7EC40DB90}" destId="{EA090BB3-A5DA-44C3-8B0A-3457B2C2F277}" srcOrd="0" destOrd="0" presId="urn:microsoft.com/office/officeart/2005/8/layout/hProcess11"/>
    <dgm:cxn modelId="{3B3811BA-60D5-4BF5-B064-A7CC4029AAE9}" type="presParOf" srcId="{B747E2B4-470A-4760-846D-D9F7EC40DB90}" destId="{DF365D1C-3844-4C0E-97D1-2AD119A36EE0}" srcOrd="1" destOrd="0" presId="urn:microsoft.com/office/officeart/2005/8/layout/hProcess11"/>
    <dgm:cxn modelId="{F73A7403-E9A3-44D6-AC1C-15223F2CF4ED}" type="presParOf" srcId="{B747E2B4-470A-4760-846D-D9F7EC40DB90}" destId="{C8B95B5E-C0E3-4042-9BD9-DC8CC69649DA}" srcOrd="2" destOrd="0" presId="urn:microsoft.com/office/officeart/2005/8/layout/hProcess11"/>
    <dgm:cxn modelId="{B093DF04-C8ED-4F8B-9C9E-1267F797DC27}" type="presParOf" srcId="{5249355C-F074-41E6-82EC-05D555B0A37E}" destId="{8D2372AA-DC72-4855-A387-6D4373FFCBD0}" srcOrd="3" destOrd="0" presId="urn:microsoft.com/office/officeart/2005/8/layout/hProcess11"/>
    <dgm:cxn modelId="{6534BA82-F7CA-4929-B742-4DD2CF5559E3}" type="presParOf" srcId="{5249355C-F074-41E6-82EC-05D555B0A37E}" destId="{9166C8C6-40FF-4A47-9F35-523E72607477}" srcOrd="4" destOrd="0" presId="urn:microsoft.com/office/officeart/2005/8/layout/hProcess11"/>
    <dgm:cxn modelId="{FCBD590C-3730-49B5-A9AE-CE37FA4F751B}" type="presParOf" srcId="{9166C8C6-40FF-4A47-9F35-523E72607477}" destId="{F9A43A4F-A126-4CD1-8CDF-CEE8BAC601AC}" srcOrd="0" destOrd="0" presId="urn:microsoft.com/office/officeart/2005/8/layout/hProcess11"/>
    <dgm:cxn modelId="{8BC91CF2-B5DB-43E0-8EF7-F4E57957433D}" type="presParOf" srcId="{9166C8C6-40FF-4A47-9F35-523E72607477}" destId="{ACE4925F-85E0-423A-AF11-67C7462E29A8}" srcOrd="1" destOrd="0" presId="urn:microsoft.com/office/officeart/2005/8/layout/hProcess11"/>
    <dgm:cxn modelId="{3E9382FE-E711-4BA0-ACDC-4DED1BE863E1}" type="presParOf" srcId="{9166C8C6-40FF-4A47-9F35-523E72607477}" destId="{5F34541B-2814-4868-9663-E2F66EE8A534}" srcOrd="2" destOrd="0" presId="urn:microsoft.com/office/officeart/2005/8/layout/hProcess11"/>
    <dgm:cxn modelId="{9E1AA549-D8DF-4FCD-B674-3B67E67E63E7}" type="presParOf" srcId="{5249355C-F074-41E6-82EC-05D555B0A37E}" destId="{086AEE64-0956-4784-8F8E-E8ADE51ED6A6}" srcOrd="5" destOrd="0" presId="urn:microsoft.com/office/officeart/2005/8/layout/hProcess11"/>
    <dgm:cxn modelId="{3C2E8F58-BFB4-4216-AAB4-B6335D18BBB6}" type="presParOf" srcId="{5249355C-F074-41E6-82EC-05D555B0A37E}" destId="{72B63800-E914-46D0-8878-0AA142470DA0}" srcOrd="6" destOrd="0" presId="urn:microsoft.com/office/officeart/2005/8/layout/hProcess11"/>
    <dgm:cxn modelId="{692A747D-C4AF-49FF-9F25-60B1C87F981A}" type="presParOf" srcId="{72B63800-E914-46D0-8878-0AA142470DA0}" destId="{7C0005F6-71C5-4228-A47A-1266BA9C3CD6}" srcOrd="0" destOrd="0" presId="urn:microsoft.com/office/officeart/2005/8/layout/hProcess11"/>
    <dgm:cxn modelId="{9A450157-D451-409E-9AC2-2786918F458E}" type="presParOf" srcId="{72B63800-E914-46D0-8878-0AA142470DA0}" destId="{EF731117-0A55-4415-8653-CC1F64EECEC1}" srcOrd="1" destOrd="0" presId="urn:microsoft.com/office/officeart/2005/8/layout/hProcess11"/>
    <dgm:cxn modelId="{8A2A426B-D6B2-4A62-9F66-2274862D1D9A}" type="presParOf" srcId="{72B63800-E914-46D0-8878-0AA142470DA0}" destId="{2DC0163C-D91C-4447-901D-6D14B8A9377B}" srcOrd="2" destOrd="0" presId="urn:microsoft.com/office/officeart/2005/8/layout/hProcess11"/>
    <dgm:cxn modelId="{99687813-9FEF-4624-B7F0-F5D9D82855A9}" type="presParOf" srcId="{5249355C-F074-41E6-82EC-05D555B0A37E}" destId="{194C846A-34A6-4C0E-8354-833EE73C69D5}" srcOrd="7" destOrd="0" presId="urn:microsoft.com/office/officeart/2005/8/layout/hProcess11"/>
    <dgm:cxn modelId="{D82D4B00-93B6-4236-BD2F-23C635AD6E67}" type="presParOf" srcId="{5249355C-F074-41E6-82EC-05D555B0A37E}" destId="{5333E641-CA6B-49C9-9161-EAE11E83DCC8}" srcOrd="8" destOrd="0" presId="urn:microsoft.com/office/officeart/2005/8/layout/hProcess11"/>
    <dgm:cxn modelId="{CBD02229-FEB7-46E1-9B2E-13508AD51A1A}" type="presParOf" srcId="{5333E641-CA6B-49C9-9161-EAE11E83DCC8}" destId="{40FAA7F3-7AB1-4356-AF1C-17067D0FD852}" srcOrd="0" destOrd="0" presId="urn:microsoft.com/office/officeart/2005/8/layout/hProcess11"/>
    <dgm:cxn modelId="{A3343EE1-6621-490D-A9C1-38071099ED2B}" type="presParOf" srcId="{5333E641-CA6B-49C9-9161-EAE11E83DCC8}" destId="{FB2F0C98-ACD2-4EE2-BC25-CCD0F8092AF3}" srcOrd="1" destOrd="0" presId="urn:microsoft.com/office/officeart/2005/8/layout/hProcess11"/>
    <dgm:cxn modelId="{9D14E530-9BFE-4E93-9BA6-BEAC583EDA50}" type="presParOf" srcId="{5333E641-CA6B-49C9-9161-EAE11E83DCC8}" destId="{3E60E126-62FB-46ED-8701-9B28646CBD87}" srcOrd="2" destOrd="0" presId="urn:microsoft.com/office/officeart/2005/8/layout/hProcess11"/>
    <dgm:cxn modelId="{3BDE89F1-D48F-47BD-910F-A65E867524EE}" type="presParOf" srcId="{5249355C-F074-41E6-82EC-05D555B0A37E}" destId="{5039CB7A-154E-4C3F-A4B9-2DFB0D01C4FB}" srcOrd="9" destOrd="0" presId="urn:microsoft.com/office/officeart/2005/8/layout/hProcess11"/>
    <dgm:cxn modelId="{B68F4509-21CE-4030-9014-0EEDE0A389D5}" type="presParOf" srcId="{5249355C-F074-41E6-82EC-05D555B0A37E}" destId="{FC3B234D-6B7C-42E7-A6DD-3FE4B6E8B9D4}" srcOrd="10" destOrd="0" presId="urn:microsoft.com/office/officeart/2005/8/layout/hProcess11"/>
    <dgm:cxn modelId="{E92525AC-ECB8-442C-87DA-81BFC974C80B}" type="presParOf" srcId="{FC3B234D-6B7C-42E7-A6DD-3FE4B6E8B9D4}" destId="{F69A34A8-BCEA-4229-A07B-9C91BD5DEC4C}" srcOrd="0" destOrd="0" presId="urn:microsoft.com/office/officeart/2005/8/layout/hProcess11"/>
    <dgm:cxn modelId="{50485CAD-AC38-4958-819C-4D6FDD855DA0}" type="presParOf" srcId="{FC3B234D-6B7C-42E7-A6DD-3FE4B6E8B9D4}" destId="{DD5741F3-1038-4BC2-AADB-5435D0257D7E}" srcOrd="1" destOrd="0" presId="urn:microsoft.com/office/officeart/2005/8/layout/hProcess11"/>
    <dgm:cxn modelId="{A30D89E0-9B5A-4C9A-8E1F-15CE45B70685}"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2"/>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3"/>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4"/>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6/16/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0123458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623323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Show Provisioning of a Virtual Machine (Server 2012)</a:t>
            </a:r>
          </a:p>
          <a:p>
            <a:pPr lvl="0"/>
            <a:r>
              <a:rPr lang="en-US" dirty="0"/>
              <a:t>Show a pre-provisioned Virtual Machine with a 1 TB disk attached. </a:t>
            </a:r>
          </a:p>
          <a:p>
            <a:pPr lvl="0"/>
            <a:r>
              <a:rPr lang="en-US" dirty="0"/>
              <a:t>Show them backed by storage using </a:t>
            </a:r>
            <a:r>
              <a:rPr lang="en-US" dirty="0" err="1"/>
              <a:t>CloudXPlorer</a:t>
            </a:r>
            <a:r>
              <a:rPr lang="en-US" dirty="0"/>
              <a:t> </a:t>
            </a:r>
          </a:p>
          <a:p>
            <a:pPr lvl="0"/>
            <a:r>
              <a:rPr lang="en-US" dirty="0"/>
              <a:t>Add another disk through the portal and watch it surface in disk management </a:t>
            </a:r>
          </a:p>
          <a:p>
            <a:pPr lvl="0"/>
            <a:r>
              <a:rPr lang="en-US" dirty="0"/>
              <a:t>Provision a Linux VM and have it “connect” to the existing booted Server 2012 VM and ping to show connectivit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2729377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555978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8302815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general overview of some</a:t>
            </a:r>
            <a:r>
              <a:rPr lang="en-US" baseline="0" dirty="0" smtClean="0"/>
              <a:t> of the progress of Windows Azure that highlights some of the efforts around on-ramping applications and providing cross platform/language ease to enabling applications to run in the </a:t>
            </a:r>
            <a:r>
              <a:rPr lang="en-US" baseline="0" dirty="0" err="1" smtClean="0"/>
              <a:t>PaaS</a:t>
            </a:r>
            <a:r>
              <a:rPr lang="en-US" baseline="0" dirty="0" smtClean="0"/>
              <a:t> service model. Virtual Machines takes this approach dramatically further. Instead of changing your application to run in the cloud we provide the tools for your application to </a:t>
            </a:r>
            <a:r>
              <a:rPr lang="en-US" baseline="0" smtClean="0"/>
              <a:t>just run. </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142038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iggest</a:t>
            </a:r>
            <a:r>
              <a:rPr lang="en-US" baseline="0" dirty="0" smtClean="0"/>
              <a:t> benefit of this model is simplicity.</a:t>
            </a:r>
          </a:p>
          <a:p>
            <a:r>
              <a:rPr lang="en-US" baseline="0" dirty="0" smtClean="0"/>
              <a:t>Connecting web and worker roles in the same cloud service as virtual machines allows direct connectivity and name resolution without the requirement to deploy a virtual network.</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84348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a:p>
        </p:txBody>
      </p:sp>
    </p:spTree>
    <p:extLst>
      <p:ext uri="{BB962C8B-B14F-4D97-AF65-F5344CB8AC3E}">
        <p14:creationId xmlns:p14="http://schemas.microsoft.com/office/powerpoint/2010/main" val="912980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a:spcBef>
                <a:spcPts val="607"/>
              </a:spcBef>
              <a:spcAft>
                <a:spcPts val="607"/>
              </a:spcAft>
            </a:pPr>
            <a:r>
              <a:rPr lang="en-US" dirty="0" smtClean="0">
                <a:solidFill>
                  <a:prstClr val="white">
                    <a:lumMod val="50000"/>
                  </a:prstClr>
                </a:solidFill>
              </a:rPr>
              <a:t>Expanding Windows Azure capabilities to provide infrastructure as a service</a:t>
            </a:r>
          </a:p>
          <a:p>
            <a:pPr marL="173316" indent="-173316">
              <a:spcBef>
                <a:spcPts val="607"/>
              </a:spcBef>
              <a:spcAft>
                <a:spcPts val="607"/>
              </a:spcAft>
              <a:buFont typeface="Arial" pitchFamily="34" charset="0"/>
              <a:buChar char="•"/>
            </a:pPr>
            <a:r>
              <a:rPr lang="en-US" dirty="0" smtClean="0">
                <a:solidFill>
                  <a:prstClr val="white">
                    <a:lumMod val="50000"/>
                  </a:prstClr>
                </a:solidFill>
              </a:rPr>
              <a:t>Provides us with a full continuum of offerings</a:t>
            </a:r>
          </a:p>
          <a:p>
            <a:pPr marL="173316" indent="-173316">
              <a:spcBef>
                <a:spcPts val="607"/>
              </a:spcBef>
              <a:spcAft>
                <a:spcPts val="607"/>
              </a:spcAft>
              <a:buFont typeface="Arial" pitchFamily="34" charset="0"/>
              <a:buChar char="•"/>
            </a:pPr>
            <a:r>
              <a:rPr lang="en-US" dirty="0" smtClean="0">
                <a:solidFill>
                  <a:prstClr val="white">
                    <a:lumMod val="50000"/>
                  </a:prstClr>
                </a:solidFill>
              </a:rPr>
              <a:t>Brings us relative parity with Amazon, who focuses on IaaS</a:t>
            </a:r>
          </a:p>
          <a:p>
            <a:pPr>
              <a:spcBef>
                <a:spcPts val="607"/>
              </a:spcBef>
              <a:spcAft>
                <a:spcPts val="607"/>
              </a:spcAft>
            </a:pPr>
            <a:endParaRPr lang="en-US"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IaaS Details</a:t>
            </a:r>
          </a:p>
          <a:p>
            <a:pPr marL="288859" indent="-288859">
              <a:spcBef>
                <a:spcPts val="607"/>
              </a:spcBef>
              <a:spcAft>
                <a:spcPts val="607"/>
              </a:spcAft>
              <a:buFont typeface="Arial" pitchFamily="34" charset="0"/>
              <a:buChar char="•"/>
            </a:pPr>
            <a:r>
              <a:rPr lang="en-US" dirty="0" smtClean="0">
                <a:solidFill>
                  <a:prstClr val="white">
                    <a:lumMod val="50000"/>
                  </a:prstClr>
                </a:solidFill>
              </a:rPr>
              <a:t>Durable virtual machines with Windows Server or Linux</a:t>
            </a:r>
          </a:p>
          <a:p>
            <a:pPr marL="504157" lvl="1" indent="-288859">
              <a:spcBef>
                <a:spcPts val="607"/>
              </a:spcBef>
              <a:spcAft>
                <a:spcPts val="607"/>
              </a:spcAft>
            </a:pPr>
            <a:r>
              <a:rPr lang="en-US" dirty="0" smtClean="0">
                <a:solidFill>
                  <a:prstClr val="white">
                    <a:lumMod val="50000"/>
                  </a:prstClr>
                </a:solidFill>
              </a:rPr>
              <a:t>Commercial and community Linux distributions</a:t>
            </a:r>
          </a:p>
          <a:p>
            <a:pPr marL="504157" lvl="1" indent="-288859">
              <a:spcBef>
                <a:spcPts val="607"/>
              </a:spcBef>
              <a:spcAft>
                <a:spcPts val="607"/>
              </a:spcAft>
            </a:pPr>
            <a:r>
              <a:rPr lang="en-US" dirty="0" smtClean="0">
                <a:solidFill>
                  <a:prstClr val="white">
                    <a:lumMod val="50000"/>
                  </a:prstClr>
                </a:solidFill>
              </a:rPr>
              <a:t>Select from a library of images or bring your own</a:t>
            </a:r>
          </a:p>
          <a:p>
            <a:pPr marL="504157" lvl="1" indent="-288859">
              <a:spcBef>
                <a:spcPts val="607"/>
              </a:spcBef>
              <a:spcAft>
                <a:spcPts val="607"/>
              </a:spcAft>
            </a:pPr>
            <a:r>
              <a:rPr lang="en-US" dirty="0" smtClean="0">
                <a:solidFill>
                  <a:prstClr val="white">
                    <a:lumMod val="50000"/>
                  </a:prstClr>
                </a:solidFill>
              </a:rPr>
              <a:t>E.g. Select an image with SQL Server</a:t>
            </a:r>
          </a:p>
          <a:p>
            <a:pPr marL="504157" lvl="1" indent="-288859">
              <a:spcBef>
                <a:spcPts val="607"/>
              </a:spcBef>
              <a:spcAft>
                <a:spcPts val="607"/>
              </a:spcAft>
            </a:pPr>
            <a:r>
              <a:rPr lang="en-US" dirty="0" smtClean="0">
                <a:solidFill>
                  <a:prstClr val="white">
                    <a:lumMod val="50000"/>
                  </a:prstClr>
                </a:solidFill>
              </a:rPr>
              <a:t>Licensing approach</a:t>
            </a:r>
          </a:p>
          <a:p>
            <a:pPr marL="288859" indent="-288859">
              <a:spcBef>
                <a:spcPts val="607"/>
              </a:spcBef>
              <a:spcAft>
                <a:spcPts val="607"/>
              </a:spcAft>
              <a:buFont typeface="Arial" pitchFamily="34" charset="0"/>
              <a:buChar char="•"/>
            </a:pPr>
            <a:r>
              <a:rPr lang="en-US" dirty="0" smtClean="0">
                <a:solidFill>
                  <a:prstClr val="white">
                    <a:lumMod val="50000"/>
                  </a:prstClr>
                </a:solidFill>
              </a:rPr>
              <a:t>Support SharePoint, SQL Server &amp; Active Directory within IaaS images</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8859" indent="-288859">
              <a:spcBef>
                <a:spcPts val="607"/>
              </a:spcBef>
              <a:spcAft>
                <a:spcPts val="607"/>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8859" indent="-288859">
              <a:spcBef>
                <a:spcPts val="607"/>
              </a:spcBef>
              <a:spcAft>
                <a:spcPts val="607"/>
              </a:spcAft>
              <a:buFont typeface="Arial" pitchFamily="34" charset="0"/>
              <a:buChar char="•"/>
            </a:pPr>
            <a:r>
              <a:rPr lang="en-US" dirty="0" smtClean="0">
                <a:solidFill>
                  <a:prstClr val="white">
                    <a:lumMod val="50000"/>
                  </a:prstClr>
                </a:solidFill>
              </a:rPr>
              <a:t>Single Instance SLA (99.9%)</a:t>
            </a:r>
          </a:p>
          <a:p>
            <a:pPr marL="288859" indent="-288859">
              <a:spcBef>
                <a:spcPts val="607"/>
              </a:spcBef>
              <a:spcAft>
                <a:spcPts val="607"/>
              </a:spcAft>
              <a:buFont typeface="Arial" pitchFamily="34" charset="0"/>
              <a:buChar char="•"/>
            </a:pPr>
            <a:r>
              <a:rPr lang="en-US" dirty="0" smtClean="0">
                <a:solidFill>
                  <a:prstClr val="white">
                    <a:lumMod val="50000"/>
                  </a:prstClr>
                </a:solidFill>
              </a:rPr>
              <a:t>Planned Upgrade Notification Support</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5780" indent="-5780"/>
            <a:r>
              <a:rPr lang="en-US" sz="1100" dirty="0">
                <a:solidFill>
                  <a:schemeClr val="accent1">
                    <a:alpha val="99000"/>
                  </a:schemeClr>
                </a:solidFill>
                <a:ea typeface="Segoe UI" pitchFamily="34" charset="0"/>
                <a:cs typeface="Segoe UI" pitchFamily="34" charset="0"/>
              </a:rPr>
              <a:t>Integration between on-premises and public cloud</a:t>
            </a:r>
          </a:p>
          <a:p>
            <a:pPr marL="288859" indent="-288859">
              <a:spcBef>
                <a:spcPts val="607"/>
              </a:spcBef>
              <a:spcAft>
                <a:spcPts val="607"/>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7"/>
              </a:spcBef>
              <a:spcAft>
                <a:spcPts val="607"/>
              </a:spcAft>
            </a:pPr>
            <a:r>
              <a:rPr lang="en-US" sz="1100" dirty="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8859" indent="-288859">
              <a:spcBef>
                <a:spcPts val="607"/>
              </a:spcBef>
              <a:spcAft>
                <a:spcPts val="607"/>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5222" indent="-175222">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5222" indent="-175222">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5222" indent="-175222">
              <a:buFont typeface="Arial" pitchFamily="34" charset="0"/>
              <a:buChar char="•"/>
            </a:pPr>
            <a:r>
              <a:rPr lang="en-US" baseline="0" dirty="0" smtClean="0"/>
              <a:t>Packaged Software</a:t>
            </a:r>
          </a:p>
          <a:p>
            <a:pPr marL="392889" lvl="1" indent="-175222"/>
            <a:r>
              <a:rPr lang="en-US" baseline="0" dirty="0" smtClean="0"/>
              <a:t>With packaged software a customer would be responsible for managing the entire stack – ranging from the network connectivity to the applications.  </a:t>
            </a:r>
          </a:p>
          <a:p>
            <a:pPr marL="175222" indent="-175222">
              <a:buFont typeface="Arial" pitchFamily="34" charset="0"/>
              <a:buChar char="•"/>
            </a:pPr>
            <a:r>
              <a:rPr lang="en-US" baseline="0" dirty="0" err="1" smtClean="0"/>
              <a:t>IaaS</a:t>
            </a:r>
            <a:endParaRPr lang="en-US" baseline="0" dirty="0" smtClean="0"/>
          </a:p>
          <a:p>
            <a:pPr marL="392889" lvl="1" indent="-175222"/>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92889" lvl="1" indent="-175222"/>
            <a:r>
              <a:rPr lang="en-US" baseline="0" dirty="0" smtClean="0"/>
              <a:t>Very few actually provide an OS</a:t>
            </a:r>
          </a:p>
          <a:p>
            <a:pPr marL="392889" lvl="1" indent="-175222"/>
            <a:r>
              <a:rPr lang="en-US" baseline="0" dirty="0" smtClean="0"/>
              <a:t>The customer is still responsible for managing the OS through the Applications.  </a:t>
            </a:r>
          </a:p>
          <a:p>
            <a:pPr marL="392889" lvl="1" indent="-175222" defTabSz="934479">
              <a:spcAft>
                <a:spcPts val="341"/>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92889" lvl="1" indent="-175222" defTabSz="934479">
              <a:spcAft>
                <a:spcPts val="341"/>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92889" lvl="1" indent="-175222" defTabSz="934479">
              <a:spcAft>
                <a:spcPts val="341"/>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92889" lvl="1" indent="-175222" defTabSz="934479">
              <a:spcAft>
                <a:spcPts val="341"/>
              </a:spcAft>
              <a:defRPr/>
            </a:pPr>
            <a:r>
              <a:rPr lang="en-US" baseline="0" dirty="0" smtClean="0"/>
              <a:t>The only requirement was a credit card to pay for the services.</a:t>
            </a:r>
          </a:p>
          <a:p>
            <a:pPr marL="175222" indent="-175222">
              <a:buFont typeface="Arial" pitchFamily="34" charset="0"/>
              <a:buChar char="•"/>
            </a:pPr>
            <a:r>
              <a:rPr lang="en-US" baseline="0" dirty="0" err="1" smtClean="0"/>
              <a:t>PaaS</a:t>
            </a:r>
            <a:endParaRPr lang="en-US" baseline="0" dirty="0" smtClean="0"/>
          </a:p>
          <a:p>
            <a:pPr marL="392889" lvl="1" indent="-175222"/>
            <a:r>
              <a:rPr lang="en-US" baseline="0" dirty="0" smtClean="0"/>
              <a:t>With Platform as a Service, everything from the network connectivity through the runtime is provided and managed by the platform vendor.  </a:t>
            </a:r>
          </a:p>
          <a:p>
            <a:pPr marL="392889" lvl="1" indent="-175222"/>
            <a:r>
              <a:rPr lang="en-US" baseline="0" dirty="0" smtClean="0"/>
              <a:t>The Windows Azure best fits in this category today.  </a:t>
            </a:r>
          </a:p>
          <a:p>
            <a:pPr marL="392889" lvl="1" indent="-175222"/>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92889" lvl="1" indent="-175222"/>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92889" lvl="1" indent="-175222"/>
            <a:r>
              <a:rPr lang="en-US" baseline="0" dirty="0" smtClean="0"/>
              <a:t>With </a:t>
            </a:r>
            <a:r>
              <a:rPr lang="en-US" baseline="0" dirty="0" err="1" smtClean="0"/>
              <a:t>PaaS</a:t>
            </a:r>
            <a:r>
              <a:rPr lang="en-US" baseline="0" dirty="0" smtClean="0"/>
              <a:t>, the developer can, almost immediately, begin creating the business logic for an application. </a:t>
            </a:r>
          </a:p>
          <a:p>
            <a:pPr marL="392889" lvl="1" indent="-175222"/>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5222" indent="-175222">
              <a:buFont typeface="Arial" pitchFamily="34" charset="0"/>
              <a:buChar char="•"/>
            </a:pPr>
            <a:r>
              <a:rPr lang="en-US" baseline="0" dirty="0" err="1" smtClean="0"/>
              <a:t>SaaS</a:t>
            </a:r>
            <a:endParaRPr lang="en-US" baseline="0" dirty="0" smtClean="0"/>
          </a:p>
          <a:p>
            <a:pPr marL="392889" lvl="1" indent="-175222"/>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1321137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10" Type="http://schemas.microsoft.com/office/2007/relationships/hdphoto" Target="../media/hdphoto8.wdp"/><Relationship Id="rId4" Type="http://schemas.openxmlformats.org/officeDocument/2006/relationships/image" Target="../media/image28.png"/><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4.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36" y="1675586"/>
            <a:ext cx="8279435" cy="1019397"/>
          </a:xfrm>
        </p:spPr>
        <p:txBody>
          <a:bodyPr/>
          <a:lstStyle/>
          <a:p>
            <a:r>
              <a:rPr lang="en-US" sz="4000" dirty="0" smtClean="0"/>
              <a:t>Windows Azure Virtual Machines Overview</a:t>
            </a:r>
            <a:endParaRPr lang="en-US" sz="4000" dirty="0"/>
          </a:p>
        </p:txBody>
      </p:sp>
      <p:sp>
        <p:nvSpPr>
          <p:cNvPr id="5" name="Subtitle 4"/>
          <p:cNvSpPr>
            <a:spLocks noGrp="1"/>
          </p:cNvSpPr>
          <p:nvPr>
            <p:ph type="body" sz="quarter" idx="11"/>
          </p:nvPr>
        </p:nvSpPr>
        <p:spPr/>
        <p:txBody>
          <a:bodyPr>
            <a:normAutofit/>
          </a:bodyPr>
          <a:lstStyle/>
          <a:p>
            <a:r>
              <a:rPr lang="en-US" dirty="0"/>
              <a:t>Speaker</a:t>
            </a:r>
          </a:p>
          <a:p>
            <a:r>
              <a:rPr lang="en-US" dirty="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Getting Started with VMs</a:t>
            </a:r>
          </a:p>
        </p:txBody>
      </p:sp>
    </p:spTree>
    <p:extLst>
      <p:ext uri="{BB962C8B-B14F-4D97-AF65-F5344CB8AC3E}">
        <p14:creationId xmlns:p14="http://schemas.microsoft.com/office/powerpoint/2010/main" val="1075849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7"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Application Migration</a:t>
            </a:r>
            <a:endParaRPr lang="en-US" dirty="0"/>
          </a:p>
        </p:txBody>
      </p:sp>
    </p:spTree>
    <p:extLst>
      <p:ext uri="{BB962C8B-B14F-4D97-AF65-F5344CB8AC3E}">
        <p14:creationId xmlns:p14="http://schemas.microsoft.com/office/powerpoint/2010/main" val="23289695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 by Side</a:t>
            </a:r>
            <a:endParaRPr lang="en-US" dirty="0"/>
          </a:p>
        </p:txBody>
      </p:sp>
      <p:sp>
        <p:nvSpPr>
          <p:cNvPr id="4" name="Text Placeholder 3"/>
          <p:cNvSpPr>
            <a:spLocks noGrp="1"/>
          </p:cNvSpPr>
          <p:nvPr>
            <p:ph type="body" sz="quarter" idx="10"/>
          </p:nvPr>
        </p:nvSpPr>
        <p:spPr>
          <a:xfrm>
            <a:off x="389436" y="1085850"/>
            <a:ext cx="8363938" cy="3413755"/>
          </a:xfrm>
        </p:spPr>
        <p:txBody>
          <a:bodyPr/>
          <a:lstStyle/>
          <a:p>
            <a:r>
              <a:rPr lang="en-US" sz="2400" dirty="0" smtClean="0">
                <a:solidFill>
                  <a:schemeClr val="accent2"/>
                </a:solidFill>
                <a:latin typeface="+mn-lt"/>
              </a:rPr>
              <a:t>Connect Cloud Apps via VIPs</a:t>
            </a:r>
          </a:p>
          <a:p>
            <a:pPr marL="345282" lvl="1" indent="-342900">
              <a:buFont typeface="Arial" pitchFamily="34" charset="0"/>
              <a:buChar char="•"/>
            </a:pPr>
            <a:r>
              <a:rPr lang="en-US" sz="2400" dirty="0" smtClean="0"/>
              <a:t>Easily compose services by connecting public endpoints</a:t>
            </a:r>
          </a:p>
          <a:p>
            <a:pPr lvl="1"/>
            <a:endParaRPr lang="en-US" sz="2400" dirty="0" smtClean="0"/>
          </a:p>
          <a:p>
            <a:pPr lvl="1"/>
            <a:r>
              <a:rPr lang="en-US" sz="2400" dirty="0" smtClean="0">
                <a:solidFill>
                  <a:schemeClr val="accent2">
                    <a:alpha val="99000"/>
                  </a:schemeClr>
                </a:solidFill>
              </a:rPr>
              <a:t>Direct Connectivity Using Virtual Networking</a:t>
            </a:r>
          </a:p>
          <a:p>
            <a:pPr marL="345282" lvl="1" indent="-342900">
              <a:buFont typeface="Arial" pitchFamily="34" charset="0"/>
              <a:buChar char="•"/>
            </a:pPr>
            <a:r>
              <a:rPr lang="en-US" sz="2400" dirty="0" smtClean="0"/>
              <a:t>For advanced connectivity scenarios such as </a:t>
            </a:r>
            <a:br>
              <a:rPr lang="en-US" sz="2400" dirty="0" smtClean="0"/>
            </a:br>
            <a:r>
              <a:rPr lang="en-US" sz="2400" dirty="0" smtClean="0"/>
              <a:t>Active </a:t>
            </a:r>
            <a:r>
              <a:rPr lang="en-US" sz="2400" dirty="0"/>
              <a:t>D</a:t>
            </a:r>
            <a:r>
              <a:rPr lang="en-US" sz="2400" dirty="0" smtClean="0"/>
              <a:t>irectory or DCOM</a:t>
            </a:r>
          </a:p>
          <a:p>
            <a:pPr lvl="1"/>
            <a:endParaRPr lang="en-US" sz="2400" dirty="0" smtClean="0">
              <a:solidFill>
                <a:schemeClr val="accent2">
                  <a:alpha val="99000"/>
                </a:schemeClr>
              </a:solidFill>
            </a:endParaRPr>
          </a:p>
          <a:p>
            <a:pPr lvl="1"/>
            <a:r>
              <a:rPr lang="en-US" sz="2400" dirty="0" smtClean="0">
                <a:solidFill>
                  <a:schemeClr val="accent2">
                    <a:alpha val="99000"/>
                  </a:schemeClr>
                </a:solidFill>
              </a:rPr>
              <a:t>Mixed Mode: Azure Roles and VMs in the Same Cloud Service</a:t>
            </a:r>
          </a:p>
          <a:p>
            <a:pPr marL="345282" lvl="1" indent="-342900">
              <a:buFont typeface="Arial" pitchFamily="34" charset="0"/>
              <a:buChar char="•"/>
            </a:pPr>
            <a:r>
              <a:rPr lang="en-US" sz="2400" dirty="0" smtClean="0"/>
              <a:t>Simple, secure and highly efficient method of using IaaS </a:t>
            </a:r>
            <a:br>
              <a:rPr lang="en-US" sz="2400" dirty="0" smtClean="0"/>
            </a:br>
            <a:r>
              <a:rPr lang="en-US" sz="2400" dirty="0" smtClean="0"/>
              <a:t>and </a:t>
            </a:r>
            <a:r>
              <a:rPr lang="en-US" sz="2400" dirty="0" err="1" smtClean="0"/>
              <a:t>PaaS</a:t>
            </a:r>
            <a:r>
              <a:rPr lang="en-US" sz="2400" dirty="0" smtClean="0"/>
              <a:t> side-by-side</a:t>
            </a:r>
          </a:p>
        </p:txBody>
      </p:sp>
    </p:spTree>
    <p:extLst>
      <p:ext uri="{BB962C8B-B14F-4D97-AF65-F5344CB8AC3E}">
        <p14:creationId xmlns:p14="http://schemas.microsoft.com/office/powerpoint/2010/main" val="12236065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218372995"/>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85213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291334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Connecting Cloud Services with VNET</a:t>
            </a:r>
            <a:endParaRPr lang="en-US" sz="3600" dirty="0"/>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6" y="2871062"/>
            <a:ext cx="3996584"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5" dirty="0">
                <a:solidFill>
                  <a:schemeClr val="accent2">
                    <a:alpha val="99000"/>
                  </a:schemeClr>
                </a:solidFill>
                <a:latin typeface="Segoe UI Light" pitchFamily="34" charset="0"/>
              </a:rPr>
              <a:t>Weaknesses</a:t>
            </a:r>
          </a:p>
          <a:p>
            <a:pPr marL="48822" indent="0">
              <a:buNone/>
            </a:pPr>
            <a:r>
              <a:rPr lang="en-US" sz="1800" dirty="0">
                <a:gradFill>
                  <a:gsLst>
                    <a:gs pos="0">
                      <a:srgbClr val="595959"/>
                    </a:gs>
                    <a:gs pos="86000">
                      <a:srgbClr val="595959"/>
                    </a:gs>
                  </a:gsLst>
                  <a:lin ang="5400000" scaled="0"/>
                </a:gradFill>
              </a:rPr>
              <a:t>VNET Complexity</a:t>
            </a:r>
          </a:p>
          <a:p>
            <a:pPr marL="48822" indent="0">
              <a:buNone/>
            </a:pPr>
            <a:r>
              <a:rPr lang="en-US" sz="1800" dirty="0">
                <a:gradFill>
                  <a:gsLst>
                    <a:gs pos="0">
                      <a:srgbClr val="595959"/>
                    </a:gs>
                    <a:gs pos="86000">
                      <a:srgbClr val="595959"/>
                    </a:gs>
                  </a:gsLst>
                  <a:lin ang="5400000" scaled="0"/>
                </a:gradFill>
              </a:rPr>
              <a:t>No </a:t>
            </a:r>
            <a:r>
              <a:rPr lang="en-US" sz="1800" dirty="0" smtClean="0">
                <a:gradFill>
                  <a:gsLst>
                    <a:gs pos="0">
                      <a:srgbClr val="595959"/>
                    </a:gs>
                    <a:gs pos="86000">
                      <a:srgbClr val="595959"/>
                    </a:gs>
                  </a:gsLst>
                  <a:lin ang="5400000" scaled="0"/>
                </a:gradFill>
              </a:rPr>
              <a:t>Windows Azure provided DNS</a:t>
            </a:r>
            <a:endParaRPr lang="en-US" sz="1800" dirty="0">
              <a:gradFill>
                <a:gsLst>
                  <a:gs pos="0">
                    <a:srgbClr val="595959"/>
                  </a:gs>
                  <a:gs pos="86000">
                    <a:srgbClr val="595959"/>
                  </a:gs>
                </a:gsLst>
                <a:lin ang="5400000" scaled="0"/>
              </a:gradFill>
            </a:endParaRPr>
          </a:p>
        </p:txBody>
      </p:sp>
      <p:grpSp>
        <p:nvGrpSpPr>
          <p:cNvPr id="45" name="Group 44"/>
          <p:cNvGrpSpPr/>
          <p:nvPr/>
        </p:nvGrpSpPr>
        <p:grpSpPr>
          <a:xfrm>
            <a:off x="5817370" y="314516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7"/>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4"/>
            <a:ext cx="956942"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err="1"/>
              <a:t>SQLSubnet</a:t>
            </a:r>
            <a:r>
              <a:rPr lang="en-US" sz="900" dirty="0"/>
              <a:t> </a:t>
            </a:r>
          </a:p>
          <a:p>
            <a:r>
              <a:rPr lang="en-US" sz="900" dirty="0"/>
              <a:t>(10.1.0.0/16)</a:t>
            </a:r>
          </a:p>
        </p:txBody>
      </p:sp>
      <p:sp>
        <p:nvSpPr>
          <p:cNvPr id="54" name="TextBox 53"/>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8"/>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5"/>
            <a:ext cx="857394" cy="938859"/>
            <a:chOff x="3815435" y="2014965"/>
            <a:chExt cx="1240945" cy="1359208"/>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59"/>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1</a:t>
            </a:r>
            <a:endParaRPr lang="en-US" sz="1200" dirty="0">
              <a:solidFill>
                <a:schemeClr val="bg1">
                  <a:alpha val="99000"/>
                </a:schemeClr>
              </a:solidFill>
            </a:endParaRPr>
          </a:p>
        </p:txBody>
      </p:sp>
      <p:sp>
        <p:nvSpPr>
          <p:cNvPr id="111" name="TextBox 110"/>
          <p:cNvSpPr txBox="1"/>
          <p:nvPr/>
        </p:nvSpPr>
        <p:spPr>
          <a:xfrm>
            <a:off x="7701594" y="335898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 2</a:t>
            </a:r>
            <a:endParaRPr lang="en-US" sz="1200" dirty="0">
              <a:solidFill>
                <a:schemeClr val="bg1">
                  <a:alpha val="99000"/>
                </a:schemeClr>
              </a:solidFill>
            </a:endParaRPr>
          </a:p>
        </p:txBody>
      </p:sp>
      <p:sp>
        <p:nvSpPr>
          <p:cNvPr id="113" name="TextBox 112"/>
          <p:cNvSpPr txBox="1"/>
          <p:nvPr/>
        </p:nvSpPr>
        <p:spPr>
          <a:xfrm>
            <a:off x="6669890"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5"/>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2" y="4128162"/>
            <a:ext cx="964117" cy="558159"/>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05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1" y="4333203"/>
            <a:ext cx="851759"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a:t>AD Subnet</a:t>
            </a:r>
          </a:p>
          <a:p>
            <a:r>
              <a:rPr lang="en-US" sz="900" dirty="0"/>
              <a:t>(10.2.0.0/16)</a:t>
            </a:r>
          </a:p>
        </p:txBody>
      </p:sp>
      <p:sp>
        <p:nvSpPr>
          <p:cNvPr id="152" name="Rectangle 151"/>
          <p:cNvSpPr/>
          <p:nvPr/>
        </p:nvSpPr>
        <p:spPr>
          <a:xfrm>
            <a:off x="5841751" y="1090606"/>
            <a:ext cx="1533130" cy="253926"/>
          </a:xfrm>
          <a:prstGeom prst="rect">
            <a:avLst/>
          </a:prstGeom>
        </p:spPr>
        <p:txBody>
          <a:bodyPr wrap="none" lIns="68589" tIns="34295" rIns="68589" bIns="34295">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r>
              <a:rPr lang="en-US" sz="1200" b="1" spc="-75" dirty="0" smtClean="0">
                <a:ln w="3175">
                  <a:noFill/>
                </a:ln>
                <a:solidFill>
                  <a:schemeClr val="accent4">
                    <a:alpha val="99000"/>
                  </a:schemeClr>
                </a:solidFill>
                <a:latin typeface="Segoe UI Light" pitchFamily="34" charset="0"/>
                <a:cs typeface="Arial" charset="0"/>
              </a:rPr>
              <a:t>)</a:t>
            </a:r>
            <a:endParaRPr lang="en-US" sz="1200" b="1" spc="-75" dirty="0">
              <a:ln w="3175">
                <a:noFill/>
              </a:ln>
              <a:solidFill>
                <a:schemeClr val="accent4">
                  <a:alpha val="99000"/>
                </a:schemeClr>
              </a:solidFill>
              <a:latin typeface="Segoe UI Light" pitchFamily="34" charset="0"/>
              <a:cs typeface="Arial" charset="0"/>
            </a:endParaRPr>
          </a:p>
        </p:txBody>
      </p:sp>
      <p:sp>
        <p:nvSpPr>
          <p:cNvPr id="3" name="Rectangle 2"/>
          <p:cNvSpPr/>
          <p:nvPr/>
        </p:nvSpPr>
        <p:spPr bwMode="auto">
          <a:xfrm>
            <a:off x="5724801" y="961292"/>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60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a:xfrm>
            <a:off x="389436" y="171450"/>
            <a:ext cx="8363938" cy="443198"/>
          </a:xfrm>
        </p:spPr>
        <p:txBody>
          <a:bodyPr/>
          <a:lstStyle/>
          <a:p>
            <a:r>
              <a:rPr lang="en-US" sz="3200" dirty="0" smtClean="0"/>
              <a:t>Mixed Mode: </a:t>
            </a:r>
            <a:r>
              <a:rPr lang="en-US" sz="3200" dirty="0" err="1" smtClean="0"/>
              <a:t>PaaS</a:t>
            </a:r>
            <a:r>
              <a:rPr lang="en-US" sz="3200" dirty="0"/>
              <a:t>/</a:t>
            </a:r>
            <a:r>
              <a:rPr lang="en-US" sz="3200" dirty="0" err="1" smtClean="0"/>
              <a:t>IaaS</a:t>
            </a:r>
            <a:r>
              <a:rPr lang="en-US" sz="3200" dirty="0" smtClean="0"/>
              <a:t> in the Same Cloud Service</a:t>
            </a:r>
            <a:endParaRPr lang="en-US" sz="3200" dirty="0"/>
          </a:p>
        </p:txBody>
      </p:sp>
      <p:sp>
        <p:nvSpPr>
          <p:cNvPr id="21" name="Content Placeholder 2"/>
          <p:cNvSpPr>
            <a:spLocks noGrp="1"/>
          </p:cNvSpPr>
          <p:nvPr>
            <p:ph type="body" sz="quarter" idx="10"/>
          </p:nvPr>
        </p:nvSpPr>
        <p:spPr>
          <a:xfrm>
            <a:off x="167597" y="833524"/>
            <a:ext cx="3172288" cy="1917961"/>
          </a:xfrm>
        </p:spPr>
        <p:txBody>
          <a:bodyPr/>
          <a:lstStyle/>
          <a:p>
            <a:r>
              <a:rPr lang="en-US" sz="2400" dirty="0">
                <a:solidFill>
                  <a:schemeClr val="accent2">
                    <a:alpha val="99000"/>
                  </a:schemeClr>
                </a:solidFill>
              </a:rPr>
              <a:t>Strengths</a:t>
            </a:r>
          </a:p>
          <a:p>
            <a:pPr lvl="1"/>
            <a:r>
              <a:rPr lang="en-US" sz="1800" spc="0" dirty="0" smtClean="0"/>
              <a:t>Windows Azure provided DNS</a:t>
            </a:r>
          </a:p>
          <a:p>
            <a:pPr lvl="1"/>
            <a:r>
              <a:rPr lang="en-US" sz="1800" spc="0" dirty="0" smtClean="0"/>
              <a:t>Low </a:t>
            </a:r>
            <a:r>
              <a:rPr lang="en-US" sz="1800" spc="0" dirty="0"/>
              <a:t>l</a:t>
            </a:r>
            <a:r>
              <a:rPr lang="en-US" sz="1800" spc="0" dirty="0" smtClean="0"/>
              <a:t>atency </a:t>
            </a:r>
            <a:r>
              <a:rPr lang="en-US" sz="1800" spc="0" dirty="0"/>
              <a:t>c</a:t>
            </a:r>
            <a:r>
              <a:rPr lang="en-US" sz="1800" spc="0" dirty="0" smtClean="0"/>
              <a:t>onnectivity</a:t>
            </a:r>
            <a:endParaRPr lang="en-US" sz="1800" spc="0" dirty="0"/>
          </a:p>
          <a:p>
            <a:pPr lvl="1"/>
            <a:r>
              <a:rPr lang="en-US" sz="1800" spc="0" dirty="0" smtClean="0"/>
              <a:t>Single </a:t>
            </a:r>
            <a:r>
              <a:rPr lang="en-US" sz="1800" spc="0" dirty="0"/>
              <a:t>d</a:t>
            </a:r>
            <a:r>
              <a:rPr lang="en-US" sz="1800" spc="0" dirty="0" smtClean="0"/>
              <a:t>eployment, update and management unit</a:t>
            </a:r>
            <a:endParaRPr lang="en-US" sz="1800" spc="0" dirty="0"/>
          </a:p>
          <a:p>
            <a:pPr lvl="1"/>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smtClean="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763631"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smtClean="0">
                <a:solidFill>
                  <a:schemeClr val="bg1">
                    <a:alpha val="99000"/>
                  </a:schemeClr>
                </a:solidFill>
              </a:rPr>
              <a:t>Service</a:t>
            </a:r>
            <a:endParaRPr lang="en-US" sz="2400" dirty="0">
              <a:solidFill>
                <a:schemeClr val="bg1">
                  <a:alpha val="99000"/>
                </a:schemeClr>
              </a:solidFill>
            </a:endParaRPr>
          </a:p>
        </p:txBody>
      </p:sp>
      <p:sp>
        <p:nvSpPr>
          <p:cNvPr id="25" name="TextBox 24"/>
          <p:cNvSpPr txBox="1"/>
          <p:nvPr/>
        </p:nvSpPr>
        <p:spPr>
          <a:xfrm>
            <a:off x="3964467" y="4539041"/>
            <a:ext cx="3667030" cy="369332"/>
          </a:xfrm>
          <a:prstGeom prst="rect">
            <a:avLst/>
          </a:prstGeom>
          <a:noFill/>
        </p:spPr>
        <p:txBody>
          <a:bodyPr wrap="none" lIns="0" tIns="0" rIns="0" bIns="0" rtlCol="0">
            <a:spAutoFit/>
          </a:bodyPr>
          <a:lstStyle/>
          <a:p>
            <a:r>
              <a:rPr lang="en-US" sz="2400" spc="-75" dirty="0">
                <a:solidFill>
                  <a:schemeClr val="accent6">
                    <a:alpha val="99000"/>
                  </a:schemeClr>
                </a:solidFill>
                <a:latin typeface="Segoe UI Light" pitchFamily="34" charset="0"/>
              </a:rPr>
              <a:t>Available </a:t>
            </a:r>
            <a:r>
              <a:rPr lang="en-US" sz="2400" spc="-75" dirty="0" smtClean="0">
                <a:solidFill>
                  <a:schemeClr val="accent6">
                    <a:alpha val="99000"/>
                  </a:schemeClr>
                </a:solidFill>
                <a:latin typeface="Segoe UI Light" pitchFamily="34" charset="0"/>
              </a:rPr>
              <a:t>at General Availability</a:t>
            </a:r>
            <a:endParaRPr lang="en-US" sz="2400" spc="-75" dirty="0">
              <a:solidFill>
                <a:schemeClr val="accent6">
                  <a:alpha val="99000"/>
                </a:schemeClr>
              </a:solidFill>
              <a:latin typeface="Segoe UI Light" pitchFamily="34" charset="0"/>
            </a:endParaRPr>
          </a:p>
        </p:txBody>
      </p:sp>
      <p:sp>
        <p:nvSpPr>
          <p:cNvPr id="22" name="Content Placeholder 2"/>
          <p:cNvSpPr txBox="1">
            <a:spLocks/>
          </p:cNvSpPr>
          <p:nvPr/>
        </p:nvSpPr>
        <p:spPr>
          <a:xfrm>
            <a:off x="3553227" y="798278"/>
            <a:ext cx="3754679" cy="124258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spc="-75" dirty="0" smtClean="0">
                <a:solidFill>
                  <a:schemeClr val="accent2">
                    <a:alpha val="99000"/>
                  </a:schemeClr>
                </a:solidFill>
                <a:latin typeface="Segoe UI Light" pitchFamily="34" charset="0"/>
              </a:rPr>
              <a:t>Weakness</a:t>
            </a:r>
            <a:endParaRPr lang="en-US" sz="2600" spc="-75" dirty="0">
              <a:solidFill>
                <a:schemeClr val="accent2">
                  <a:alpha val="99000"/>
                </a:schemeClr>
              </a:solidFill>
              <a:latin typeface="Segoe UI Light" pitchFamily="34" charset="0"/>
            </a:endParaRPr>
          </a:p>
          <a:p>
            <a:pPr marL="0" indent="0">
              <a:buNone/>
            </a:pPr>
            <a:r>
              <a:rPr lang="en-US" sz="1800" dirty="0" smtClean="0">
                <a:gradFill>
                  <a:gsLst>
                    <a:gs pos="0">
                      <a:srgbClr val="595959"/>
                    </a:gs>
                    <a:gs pos="86000">
                      <a:srgbClr val="595959"/>
                    </a:gs>
                  </a:gsLst>
                  <a:lin ang="5400000" scaled="0"/>
                </a:gradFill>
              </a:rPr>
              <a:t>No </a:t>
            </a:r>
            <a:r>
              <a:rPr lang="en-US" sz="1800" dirty="0">
                <a:gradFill>
                  <a:gsLst>
                    <a:gs pos="0">
                      <a:srgbClr val="595959"/>
                    </a:gs>
                    <a:gs pos="86000">
                      <a:srgbClr val="595959"/>
                    </a:gs>
                  </a:gsLst>
                  <a:lin ang="5400000" scaled="0"/>
                </a:gradFill>
              </a:rPr>
              <a:t>VIP </a:t>
            </a:r>
            <a:r>
              <a:rPr lang="en-US" sz="1800" dirty="0" smtClean="0">
                <a:gradFill>
                  <a:gsLst>
                    <a:gs pos="0">
                      <a:srgbClr val="595959"/>
                    </a:gs>
                    <a:gs pos="86000">
                      <a:srgbClr val="595959"/>
                    </a:gs>
                  </a:gsLst>
                  <a:lin ang="5400000" scaled="0"/>
                </a:gradFill>
              </a:rPr>
              <a:t>Swap (coming in the future)</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272555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marL="285750" indent="-285750">
              <a:spcAft>
                <a:spcPts val="450"/>
              </a:spcAft>
              <a:buFont typeface="Arial" pitchFamily="34" charset="0"/>
              <a:buChar char="•"/>
            </a:pPr>
            <a:r>
              <a:rPr lang="en-US" sz="1600" dirty="0" smtClean="0">
                <a:solidFill>
                  <a:srgbClr val="FFFFFF"/>
                </a:solidFill>
                <a:latin typeface="Segoe UI Light" pitchFamily="34" charset="0"/>
              </a:rPr>
              <a:t>SQL Server 2012 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8 RC</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CF69C5-0497-4CBF-B135-F09D219CA3FA}">
  <ds:schemaRefs>
    <ds:schemaRef ds:uri="http://schemas.microsoft.com/office/2006/documentManagement/types"/>
    <ds:schemaRef ds:uri="http://purl.org/dc/dcmitype/"/>
    <ds:schemaRef ds:uri="f847e7ad-bfae-49c8-aedd-39ec05321f40"/>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64BB9-3772-44C2-82F4-DBB5E8349B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7027</TotalTime>
  <Words>2203</Words>
  <Application>Microsoft Office PowerPoint</Application>
  <PresentationFormat>On-screen Show (16:9)</PresentationFormat>
  <Paragraphs>411</Paragraphs>
  <Slides>23</Slides>
  <Notes>23</Notes>
  <HiddenSlides>0</HiddenSlides>
  <MMClips>0</MMClips>
  <ScaleCrop>false</ScaleCrop>
  <HeadingPairs>
    <vt:vector size="4" baseType="variant">
      <vt:variant>
        <vt:lpstr>Theme</vt:lpstr>
      </vt:variant>
      <vt:variant>
        <vt:i4>3</vt:i4>
      </vt:variant>
      <vt:variant>
        <vt:lpstr>Slide Titles</vt:lpstr>
      </vt:variant>
      <vt:variant>
        <vt:i4>23</vt:i4>
      </vt:variant>
    </vt:vector>
  </HeadingPairs>
  <TitlesOfParts>
    <vt:vector size="26" baseType="lpstr">
      <vt:lpstr>MS1444_Windows Azure Template 16x9_r08b</vt:lpstr>
      <vt:lpstr>White with Consolas font for code slides</vt:lpstr>
      <vt:lpstr>1_MS1444_Windows Azure Template 16x9_r08a</vt:lpstr>
      <vt:lpstr>Windows Azure Virtual Machines Overview</vt:lpstr>
      <vt:lpstr>How Did We Get Here? </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Demo</vt:lpstr>
      <vt:lpstr>Cross-premise Connectivity</vt:lpstr>
      <vt:lpstr>Windows Azure Virtual Network</vt:lpstr>
      <vt:lpstr>Windows Azure Virtual Network Scenarios</vt:lpstr>
      <vt:lpstr>Bringing Workloads to the Cloud</vt:lpstr>
      <vt:lpstr>Demo</vt:lpstr>
      <vt:lpstr>IaaS and PaaS   – Better Together</vt:lpstr>
      <vt:lpstr>IaaS and PaaS Side by Side</vt:lpstr>
      <vt:lpstr>Connecting Applications and VMs</vt:lpstr>
      <vt:lpstr>Connecting Cloud Services with VNET</vt:lpstr>
      <vt:lpstr>Mixed Mode: PaaS/IaaS in the Same Cloud Servic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James Conard</cp:lastModifiedBy>
  <cp:revision>407</cp:revision>
  <cp:lastPrinted>2012-06-13T17:39:57Z</cp:lastPrinted>
  <dcterms:created xsi:type="dcterms:W3CDTF">2006-08-16T00:00:00Z</dcterms:created>
  <dcterms:modified xsi:type="dcterms:W3CDTF">2012-06-16T17:4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